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66" r:id="rId2"/>
    <p:sldId id="256" r:id="rId3"/>
    <p:sldId id="257" r:id="rId4"/>
    <p:sldId id="268" r:id="rId5"/>
    <p:sldId id="279" r:id="rId6"/>
    <p:sldId id="292" r:id="rId7"/>
    <p:sldId id="258" r:id="rId8"/>
    <p:sldId id="280" r:id="rId9"/>
    <p:sldId id="293" r:id="rId10"/>
    <p:sldId id="267" r:id="rId11"/>
    <p:sldId id="294" r:id="rId12"/>
    <p:sldId id="295" r:id="rId13"/>
    <p:sldId id="296" r:id="rId14"/>
    <p:sldId id="297" r:id="rId15"/>
  </p:sldIdLst>
  <p:sldSz cx="12192000" cy="6858000"/>
  <p:notesSz cx="6797675" cy="9926638"/>
  <p:custDataLst>
    <p:tags r:id="rId1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5" autoAdjust="0"/>
    <p:restoredTop sz="95713" autoAdjust="0"/>
  </p:normalViewPr>
  <p:slideViewPr>
    <p:cSldViewPr snapToGrid="0">
      <p:cViewPr varScale="1">
        <p:scale>
          <a:sx n="54" d="100"/>
          <a:sy n="54" d="100"/>
        </p:scale>
        <p:origin x="84" y="4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393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88ADDE-E76A-41F9-85AD-08F429110126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0B3232-0ECE-4283-ABC8-400735AFB1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3246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056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8056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2F3FAB10-E226-4A57-9C0B-0EB3722713F1}" type="datetimeFigureOut">
              <a:rPr lang="en-US" smtClean="0"/>
              <a:t>1/8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8055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60" cy="498055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2147C3F7-68DC-4150-871A-EC7375972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833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075">
              <a:defRPr/>
            </a:pPr>
            <a:r>
              <a:rPr lang="kk-KZ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76,91%</a:t>
            </a: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9127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075">
              <a:defRPr/>
            </a:pP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899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075">
              <a:defRPr/>
            </a:pP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816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075">
              <a:defRPr/>
            </a:pPr>
            <a:endParaRPr lang="ru-RU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244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310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6602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47C3F7-68DC-4150-871A-EC7375972D6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09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807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20978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0044017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0805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2419974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59996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41570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6262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3429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3625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69977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71685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32737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0022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86380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96930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087877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Слайд think-cell" r:id="rId20" imgW="347" imgH="348" progId="TCLayout.ActiveDocument.1">
                  <p:embed/>
                </p:oleObj>
              </mc:Choice>
              <mc:Fallback>
                <p:oleObj name="Слайд think-cell" r:id="rId2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5326D3-3F11-4E00-86F6-8A3E6D3A93DB}" type="datetimeFigureOut">
              <a:rPr lang="ru-RU" smtClean="0"/>
              <a:t>08.01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720F2435-6132-411F-BD93-47AFBC065F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2344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340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811785" y="2009955"/>
            <a:ext cx="8915400" cy="2009784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sz="28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ое законодательство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sz="2800" b="1" dirty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sz="28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r">
              <a:lnSpc>
                <a:spcPct val="107000"/>
              </a:lnSpc>
              <a:buNone/>
            </a:pPr>
            <a:r>
              <a:rPr lang="ru-RU" sz="2000" b="1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ирбекова</a:t>
            </a:r>
            <a:r>
              <a:rPr lang="ru-RU" sz="20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000" b="1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агрифа</a:t>
            </a:r>
            <a:r>
              <a:rPr lang="ru-RU" sz="20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000" b="1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кишевна</a:t>
            </a:r>
            <a:r>
              <a:rPr lang="ru-RU" sz="20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endParaRPr lang="en-US" sz="16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r">
              <a:lnSpc>
                <a:spcPct val="107000"/>
              </a:lnSpc>
              <a:buNone/>
            </a:pPr>
            <a:r>
              <a:rPr lang="ru-RU" sz="20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уководитель антикоррупционной </a:t>
            </a:r>
            <a:r>
              <a:rPr lang="ru-RU" sz="2000" b="1" i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мплаенс</a:t>
            </a:r>
            <a:r>
              <a:rPr lang="ru-RU" sz="2000" b="1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службы</a:t>
            </a:r>
            <a:endParaRPr lang="en-US" sz="16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стана, 2024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</a:t>
            </a:r>
            <a:endParaRPr lang="ru-RU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997" y="311330"/>
            <a:ext cx="2528614" cy="1454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3922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9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4080" y="1362974"/>
            <a:ext cx="9834327" cy="4858531"/>
          </a:xfrm>
        </p:spPr>
        <p:txBody>
          <a:bodyPr>
            <a:noAutofit/>
          </a:bodyPr>
          <a:lstStyle/>
          <a:p>
            <a:pPr marL="0" indent="0" algn="ctr">
              <a:lnSpc>
                <a:spcPct val="107000"/>
              </a:lnSpc>
              <a:buNone/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АЯ ПОЛИТИКА РЕСПУБЛИКИ </a:t>
            </a:r>
            <a:r>
              <a:rPr lang="ru-RU" sz="11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ЗАХСТАН</a:t>
            </a:r>
          </a:p>
          <a:p>
            <a:pPr algn="just">
              <a:lnSpc>
                <a:spcPct val="107000"/>
              </a:lnSpc>
            </a:pP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    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ая политика Казахстана постоянно совершенствуется исходя из запросов общества с учетом национальной практики и передового зарубежного опыта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      Последовательный и комплексный подход в данном направлении обеспечен через реализацию Антикоррупционной стратегии Республики Казахстан на 2015-2025 годы, утвержденной Указом Президента Республики Казахстан от 26 декабря 2014 года № 986 (далее - Антикоррупционная стратегия)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 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нятием Закона «О противодействии коррупции» 18 ноября 2015 года создана система мер противодействия коррупции с разумным балансом превентивных и уголовно-правовых инструментов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орьбу с коррупцией активно вовлекается гражданское общество через антикоррупционное просвещение и создание атмосферы «нулевой» терпимости к любым ее проявлениям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н 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зависимый уполномоченный орган по противодействию коррупции - Агентство Республики Казахстан по противодействию коррупции (Антикоррупционная служба), подчиненное и подотчетное Президенту Республики Казахстан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циональное антикоррупционное движение вовлечены все заинтересованные группы: учащиеся, студенты, преподаватели, государственные служащие, предприниматели, инвесторы, независимые эксперты, волонтеры и другие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 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сем специальностям </a:t>
            </a:r>
            <a:r>
              <a:rPr lang="ru-RU" sz="1100" b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акалавриата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образовательные программы дополнены элективным предметом «Основы антикоррупционной культуры</a:t>
            </a:r>
            <a:r>
              <a:rPr lang="ru-RU" sz="11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».</a:t>
            </a:r>
            <a:endParaRPr lang="ru-RU" sz="11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казом 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езидента Республики Казахстан от 02 февраля 2022 года №802 утверждена «Концепция антикоррупционной политики Республики Казахстан на 2022-2026 годы»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1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нцепция </a:t>
            </a:r>
            <a:r>
              <a:rPr lang="ru-RU" sz="11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целена на переход от борьбы с последствиями к системному устранению предпосылок коррупции, обеспечению неотвратимости ответственности, коренному изменению общественного сознания.</a:t>
            </a: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100" dirty="0" smtClean="0"/>
          </a:p>
          <a:p>
            <a:pPr marL="0" indent="0">
              <a:buNone/>
            </a:pPr>
            <a:endParaRPr lang="ru-RU" sz="1100" dirty="0"/>
          </a:p>
          <a:p>
            <a:pPr marL="0" indent="0">
              <a:buNone/>
            </a:pPr>
            <a:endParaRPr lang="ru-RU" sz="1100" dirty="0" smtClean="0"/>
          </a:p>
          <a:p>
            <a:pPr marL="0" indent="0">
              <a:buNone/>
            </a:pPr>
            <a:endParaRPr lang="ru-RU" sz="1100" dirty="0"/>
          </a:p>
        </p:txBody>
      </p:sp>
      <p:pic>
        <p:nvPicPr>
          <p:cNvPr id="4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041" y="311330"/>
            <a:ext cx="1648282" cy="948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3478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096218" y="1224951"/>
            <a:ext cx="9169879" cy="4996554"/>
          </a:xfrm>
        </p:spPr>
        <p:txBody>
          <a:bodyPr>
            <a:normAutofit/>
          </a:bodyPr>
          <a:lstStyle/>
          <a:p>
            <a:pPr indent="0" algn="just">
              <a:lnSpc>
                <a:spcPct val="107000"/>
              </a:lnSpc>
              <a:buNone/>
            </a:pPr>
            <a:r>
              <a:rPr lang="ru-RU" sz="19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тиводействие </a:t>
            </a:r>
            <a:r>
              <a:rPr lang="ru-RU" sz="19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и в </a:t>
            </a:r>
            <a:r>
              <a:rPr lang="ru-RU" sz="1900" b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вазигосударственном</a:t>
            </a:r>
            <a:r>
              <a:rPr lang="ru-RU" sz="19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и частном секторах: </a:t>
            </a:r>
            <a:endParaRPr lang="en-US" sz="19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конодательно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креплено создание антикоррупционных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мплаенс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служб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силение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ветственности за коррупцию и обеспечение неотвратимости наказания: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йствует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жизненный запрет на трудоустройство на государственную службу и в субъекты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вазигосударственного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сектора для лиц, совершивших коррупционные преступления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веден институт персональной ответственности руководителей государственных органов, организаций, субъектов 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вазигосударственного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сектора за коррупцию подчиненных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  <a:tabLst>
                <a:tab pos="447675" algn="l"/>
                <a:tab pos="538163" algn="l"/>
                <a:tab pos="717550" algn="l"/>
              </a:tabLst>
            </a:pP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еждународное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трудничество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15875" algn="just">
              <a:lnSpc>
                <a:spcPct val="107000"/>
              </a:lnSpc>
              <a:tabLst>
                <a:tab pos="447675" algn="l"/>
                <a:tab pos="538163" algn="l"/>
                <a:tab pos="717550" algn="l"/>
              </a:tabLst>
            </a:pP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захстан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соединился к основным международным конвенциям в сфере противодействия коррупции и отмыванию доходов, Стамбульскому плану действий по борьбе против коррупции (в рамках сети Организации экономического сотрудничества и развития (ОЭСР) и вступил в Группу государств против коррупции (ГРЕКО)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4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31" y="311330"/>
            <a:ext cx="1773991" cy="1112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34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4081" y="1147482"/>
            <a:ext cx="8915400" cy="507402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dirty="0" smtClean="0"/>
          </a:p>
          <a:p>
            <a:pPr marL="358775" indent="0" algn="just">
              <a:spcAft>
                <a:spcPts val="800"/>
              </a:spcAft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аны и утверждены, а также размещены на сайте balletacademy.edu.kz внутренние нормативные документы (ВНД) по противодействию коррупции: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ая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итика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нтикоррупционный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андарт;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итика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тиводействия коррупции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итика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 выявлению и урегулированию конфликта интересов должностных лиц и работников;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струкция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 противодействию коррупции и коммерческому подкупу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8775" indent="0" algn="just">
              <a:spcAft>
                <a:spcPts val="800"/>
              </a:spcAf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ожение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 антикоррупционной </a:t>
            </a:r>
            <a:r>
              <a:rPr lang="ru-RU" b="1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мплаенс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службе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4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808" y="311330"/>
            <a:ext cx="1500996" cy="1105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768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4081" y="1147482"/>
            <a:ext cx="8915400" cy="507402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endParaRPr lang="ru-RU" dirty="0" smtClean="0"/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целях обеспечения возможности обращения работников и обучающихся с заявлениями о фактах нарушения ими своих прав и законных интересов установлены «Ящики доверия» в количестве 4 единиц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630555" algn="l"/>
              </a:tabLs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естибюле учебного корпуса А (рядом с главным входом),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630555" algn="l"/>
              </a:tabLs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 первом этаже корпуса С (рядом с информационным стендом),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630555" algn="l"/>
              </a:tabLs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 третьем этаже интерната (рядом с кабинетом заведующей интернатом),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630555" algn="l"/>
              </a:tabLs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на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твертом этаже корпуса А (напротив аудитории №461)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  <a:tabLst>
                <a:tab pos="630555" algn="l"/>
              </a:tabLst>
            </a:pPr>
            <a:r>
              <a:rPr lang="kk-KZ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kk-KZ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акже </a:t>
            </a:r>
            <a:r>
              <a:rPr lang="kk-KZ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целях оказания консультативных, справочно-информационных, социально-правовых услуг создан Call-центр: 790-854.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  <a:tabLst>
                <a:tab pos="630555" algn="l"/>
              </a:tabLst>
            </a:pPr>
            <a:r>
              <a:rPr lang="kk-KZ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и </a:t>
            </a:r>
            <a:r>
              <a:rPr lang="kk-KZ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 задачи работы Call-центра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630555" algn="l"/>
              </a:tabLst>
            </a:pPr>
            <a:r>
              <a:rPr lang="kk-KZ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ем </a:t>
            </a:r>
            <a:r>
              <a:rPr lang="kk-KZ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елефонных сообщений о коррупционных правонарушениях и бесплатная консультационная поддержка граждан по вопросам противодействия коррупции;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630555" algn="l"/>
              </a:tabLst>
            </a:pPr>
            <a:r>
              <a:rPr lang="kk-KZ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воевременное </a:t>
            </a:r>
            <a:r>
              <a:rPr lang="kk-KZ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ссмотрение поступивших обращений субъектов образовательного процесса, а также направление их на рассмотрение должностным лицам Академии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4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705" y="311330"/>
            <a:ext cx="1453618" cy="836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485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10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4081" y="1147482"/>
            <a:ext cx="8915400" cy="507402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dirty="0" smtClean="0"/>
          </a:p>
          <a:p>
            <a:pPr marL="0" indent="0" algn="ctr">
              <a:buNone/>
            </a:pPr>
            <a:endParaRPr lang="ru-RU" dirty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 smtClean="0"/>
          </a:p>
          <a:p>
            <a:pPr marL="0" lvl="0" indent="0" algn="ctr">
              <a:buClr>
                <a:srgbClr val="A53010"/>
              </a:buClr>
              <a:buNone/>
            </a:pPr>
            <a:r>
              <a:rPr lang="ru-RU" sz="36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БЛАГОДАРЮ ЗА ВНИМАНИЕ!!!</a:t>
            </a:r>
          </a:p>
        </p:txBody>
      </p:sp>
      <p:pic>
        <p:nvPicPr>
          <p:cNvPr id="4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705" y="311330"/>
            <a:ext cx="1453618" cy="836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073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241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959667" y="343265"/>
            <a:ext cx="9144000" cy="619125"/>
          </a:xfrm>
        </p:spPr>
        <p:txBody>
          <a:bodyPr vert="horz">
            <a:normAutofit fontScale="90000"/>
          </a:bodyPr>
          <a:lstStyle/>
          <a:p>
            <a:pPr algn="l"/>
            <a:r>
              <a:rPr lang="ru-R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</a:t>
            </a:r>
            <a:endParaRPr lang="ru-RU" sz="3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Rectangle 1"/>
          <p:cNvSpPr>
            <a:spLocks noGrp="1" noChangeArrowheads="1"/>
          </p:cNvSpPr>
          <p:nvPr>
            <p:ph type="subTitle" idx="4294967295"/>
          </p:nvPr>
        </p:nvSpPr>
        <p:spPr bwMode="auto">
          <a:xfrm>
            <a:off x="1852328" y="272705"/>
            <a:ext cx="8924925" cy="2108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ru-RU" sz="24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ru-RU" sz="2400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ru-RU" sz="2400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24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Коррупция – это раковая опухоль общества»</a:t>
            </a:r>
            <a:endParaRPr lang="en-US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100" i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                 Джеймс Вулфенсон, глава Всемирного Банка, 1996</a:t>
            </a:r>
            <a:endParaRPr lang="en-US" sz="11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kumimoji="0" lang="ru-RU" altLang="ru-RU" sz="2400" b="1" i="0" u="none" strike="noStrike" cap="none" normalizeH="0" baseline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997" y="311330"/>
            <a:ext cx="1708268" cy="982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Объект 2"/>
          <p:cNvSpPr txBox="1">
            <a:spLocks/>
          </p:cNvSpPr>
          <p:nvPr/>
        </p:nvSpPr>
        <p:spPr>
          <a:xfrm>
            <a:off x="2274321" y="1630392"/>
            <a:ext cx="9302327" cy="458207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6000"/>
              </a:lnSpc>
              <a:buNone/>
            </a:pPr>
            <a:endParaRPr lang="ru-RU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just">
              <a:lnSpc>
                <a:spcPct val="107000"/>
              </a:lnSpc>
              <a:buNone/>
            </a:pP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лово «коррупция» (от лат. «</a:t>
            </a:r>
            <a:r>
              <a:rPr lang="ru-RU" dirty="0" err="1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rumper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») имеет множество значений:</a:t>
            </a:r>
            <a:endParaRPr lang="en-US" sz="14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рча, упадок, подкуп, обольщение, совращение, превратность, расстраивать дела, подвергать разрушению, искажать, фальсифицировать, осквернять, позорить достоинство.</a:t>
            </a:r>
            <a:endParaRPr lang="en-US" sz="14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римском праве слово «</a:t>
            </a:r>
            <a:r>
              <a:rPr lang="ru-RU" dirty="0" err="1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rrumpire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» имеет значение «разламывать, портить, разрушать, повреждать, фальсифицировать, подкупать», а также «совращение, упадок, извращенность, плохое состояние, превратность (мнения или взгляда)».</a:t>
            </a:r>
            <a:endParaRPr lang="en-US" sz="14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buFont typeface="Wingdings 3" charset="2"/>
              <a:buNone/>
            </a:pPr>
            <a:r>
              <a:rPr lang="en-US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945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644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5895" y="410392"/>
            <a:ext cx="10515600" cy="606425"/>
          </a:xfrm>
        </p:spPr>
        <p:txBody>
          <a:bodyPr vert="horz">
            <a:normAutofit fontScale="90000"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</a:t>
            </a:r>
            <a: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</a:rPr>
              <a:t>Первые упоминания о коррупции в истории человечества</a:t>
            </a:r>
            <a:b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</a:rPr>
            </a:br>
            <a:endParaRPr lang="ru-RU" sz="2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36613" y="1423357"/>
            <a:ext cx="9234881" cy="4544799"/>
          </a:xfrm>
        </p:spPr>
        <p:txBody>
          <a:bodyPr>
            <a:no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дним из первых свидетельств существования коррупции являются архивы Древнего Вавилона (вторая половина XXIV в. до н. э.), а позднее и знаменитые Законы вавилонского царя Хаммурапи (XIX в. до н. э.).  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*Аристотель в работе «Политика» выделял коррупцию как важнейший фактор, способный привести государство если не к гибели, то к вырождению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i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поминания о коррупции имеются и в восточных цивилизациях</a:t>
            </a:r>
            <a:r>
              <a:rPr lang="ru-RU" i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*Аль-</a:t>
            </a:r>
            <a:r>
              <a:rPr lang="ru-RU" dirty="0" err="1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араби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считал, что чиновники должны занимать свои должности в зависимости от способностей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004" y="356596"/>
            <a:ext cx="1716656" cy="987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048000" y="3105835"/>
            <a:ext cx="6096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endParaRPr lang="ru-RU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046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0768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18216"/>
          </a:xfrm>
        </p:spPr>
        <p:txBody>
          <a:bodyPr vert="horz">
            <a:normAutofit fontScale="90000"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</a:t>
            </a:r>
            <a:r>
              <a:rPr lang="ru-RU" sz="27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пределение </a:t>
            </a:r>
            <a: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и:</a:t>
            </a: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97997" y="1801906"/>
            <a:ext cx="10809973" cy="432794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Злоупотребление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доверенной властью в личных целях (для получения личной выгоды) против интересов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государства </a:t>
            </a:r>
          </a:p>
          <a:p>
            <a:pPr marL="0" indent="0" algn="just">
              <a:lnSpc>
                <a:spcPct val="107000"/>
              </a:lnSpc>
              <a:spcAft>
                <a:spcPts val="800"/>
              </a:spcAft>
              <a:buNone/>
            </a:pPr>
            <a:r>
              <a:rPr lang="ru-RU" sz="14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ЕДПОСЫЛКИ КОРРУПЦИИ</a:t>
            </a:r>
            <a:r>
              <a:rPr lang="en-GB" sz="14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en-US" sz="14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2286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ОРИТЕТ ЛИЧНЫХ ИНТЕРЕСОВ У ГОССЛУЖАЩИХ ИЛИ СОТРУДНИКОВ ОРГАНИЗАЦИИ НАД ОБЩЕСТВЕННЫМИ ИЛИ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ПОРАТИВНЫМИ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2286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Х СЛУЖЕБНОЕ ПОЛОЖЕНИЕ ИЛИ ДОЛЖНОСТНЫЕ ОБЯЗАННОСТИ СПОСОБСТВУЮТ  ПОЛУЧЕНИЮ ЛИЧНОЙ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ГОДЫ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2286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ИЕ ИЛИ НЕ ЭФФЕКТИВНЫЕ СТОП-ФАКТОРЫ (ПРОЦЕДУРА УВЕДОМЛЕНИЯ О КОНФЛИКТЕ ИНТЕРЕСОВ И Т.Д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2286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СЧЕТ НА ТО, ЧТО ДОХОД ОТ КОРРУПЦИИ БУДЕТ ПРЕВЫШАТЬ ВОЗМОЖНЫЙ УЩЕРБ И НАКАЗАНИЯ МОЖНО БУДЕТ ИЗБЕЖАТЬ ИЛИ ОНО БУДЕТ </a:t>
            </a:r>
            <a:r>
              <a:rPr lang="ru-RU" sz="14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ЯГКИМ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ЖАДНОСТЬ, ЧУСТВО ЛИЧНОЙ НАЖИВЫ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997" y="311330"/>
            <a:ext cx="1760863" cy="101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0513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754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6425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</a:t>
            </a:r>
            <a: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ЯСНЕНИЕ ТЕРМИНОВ</a:t>
            </a:r>
            <a:r>
              <a:rPr lang="en-US" sz="27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27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2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18684" y="1285336"/>
            <a:ext cx="9949339" cy="5187182"/>
          </a:xfrm>
        </p:spPr>
        <p:txBody>
          <a:bodyPr>
            <a:noAutofit/>
          </a:bodyPr>
          <a:lstStyle/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онные </a:t>
            </a: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авонарушения –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авонарушения, наказание за совершение которых предусмотрено статьями Уголовного кодекса</a:t>
            </a:r>
            <a:r>
              <a:rPr lang="ru-RU" sz="16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онные риски - 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юбые внутренние и внешние вопросы, которые могут повлечь за собой коррупцию в государственном секторе.  Коррупционный риск может быть связан с конфликтом интересов, несовместимостью функций, получением запрещенных подарков и иной нелегальной выгод и др</a:t>
            </a: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правление коррупционными рисками: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цесс, охватывающий идентификацию рисков и риск-факторов, их оценку, контроль и мониторинг</a:t>
            </a:r>
            <a:r>
              <a:rPr lang="ru-RU" sz="16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рушение добросовестности  -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рушение правил и норм, определенных Постановлением правительства об определении общих правил поведения и этики в государственных учреждениях. А также нарушение правил поведения и этики, установленных специализированным законодательством</a:t>
            </a:r>
            <a:r>
              <a:rPr lang="ru-RU" sz="16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ормирование антикоррупционной культуры –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ятельность, осуществляемая субъектами противодействия коррупции в пределах своей компетенции по сохранению и укреплению в обществе системы ценностей, отражающей нетерпимость к коррупции</a:t>
            </a:r>
            <a:r>
              <a:rPr lang="ru-RU" sz="16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ru-RU" sz="16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ормирование антикоррупционного сознания –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епрерывный процесс воспитания и обучения, осуществляемый в целях нравственного, интеллектуального, культурного развития и формирования активной гражданской позиции неприятия коррупции личностью.</a:t>
            </a: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buFont typeface="Wingdings" panose="05000000000000000000" pitchFamily="2" charset="2"/>
              <a:buChar char="Ø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997" y="311330"/>
            <a:ext cx="1381301" cy="794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048000" y="2551837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2490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754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6425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</a:t>
            </a:r>
            <a:b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700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ИПЫ </a:t>
            </a:r>
            <a:r>
              <a:rPr lang="ru-RU" sz="27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И</a:t>
            </a:r>
            <a:r>
              <a:rPr lang="kk-KZ" sz="27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kk-KZ" sz="27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27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600297" y="1397479"/>
            <a:ext cx="9838329" cy="5354353"/>
          </a:xfrm>
        </p:spPr>
        <p:txBody>
          <a:bodyPr>
            <a:norm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Регулярная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коррупция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: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Люди знают, что если они регулярно оплачивают какие-то суммы в виде взяток, их проблемы решаются, Однако, стоит перестать платить, и проблемы начнутся снова. Оплата гарантирует исполнение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 Хаотическая коррупция: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Имеет место, когда взятки не гарантируют исполнение договоренностей – услуги не оказываются, разрешения не выдаются, штрафы не аннулируются и т.д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Бытовая коррупция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: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Возникает, когда люди пытаются удовлетворить свои бытовые потребности – найти работу, устроить детей в сад и школу, получить медицинские услуги, другие государственные услуги для своих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ужд.</a:t>
            </a:r>
            <a:r>
              <a:rPr lang="kk-KZ" sz="1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ще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дна причина – попытка избежать наказания, штрафов, снизить или исключить ответственность и т.д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</a:rPr>
              <a:t>Системная коррупция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: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 Возникает, когда люди ищут дополнительные источники прибыли – получить госзаказ, выгодный контракт или провести операции с госимуществом и т.д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997" y="311330"/>
            <a:ext cx="1683226" cy="968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048000" y="2551837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5666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0450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5025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ru-RU" dirty="0" smtClean="0"/>
              <a:t>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997" y="311330"/>
            <a:ext cx="1542981" cy="887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1600297" y="1423358"/>
            <a:ext cx="8682390" cy="1043798"/>
          </a:xfrm>
        </p:spPr>
        <p:txBody>
          <a:bodyPr>
            <a:normAutofit/>
          </a:bodyPr>
          <a:lstStyle/>
          <a:p>
            <a:pPr marL="0" indent="0">
              <a:lnSpc>
                <a:spcPct val="107000"/>
              </a:lnSpc>
              <a:buNone/>
            </a:pPr>
            <a:endParaRPr lang="ru-RU" b="1" dirty="0" smtClean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7000"/>
              </a:lnSpc>
              <a:buNone/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иды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и внутри организации и с участием третьих лиц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247636"/>
              </p:ext>
            </p:extLst>
          </p:nvPr>
        </p:nvGraphicFramePr>
        <p:xfrm>
          <a:off x="1466490" y="2690364"/>
          <a:ext cx="9721970" cy="2641890"/>
        </p:xfrm>
        <a:graphic>
          <a:graphicData uri="http://schemas.openxmlformats.org/drawingml/2006/table">
            <a:tbl>
              <a:tblPr firstRow="1" firstCol="1" bandRow="1"/>
              <a:tblGrid>
                <a:gridCol w="4860985">
                  <a:extLst>
                    <a:ext uri="{9D8B030D-6E8A-4147-A177-3AD203B41FA5}">
                      <a16:colId xmlns:a16="http://schemas.microsoft.com/office/drawing/2014/main" val="140382813"/>
                    </a:ext>
                  </a:extLst>
                </a:gridCol>
                <a:gridCol w="4860985">
                  <a:extLst>
                    <a:ext uri="{9D8B030D-6E8A-4147-A177-3AD203B41FA5}">
                      <a16:colId xmlns:a16="http://schemas.microsoft.com/office/drawing/2014/main" val="2222890835"/>
                    </a:ext>
                  </a:extLst>
                </a:gridCol>
              </a:tblGrid>
              <a:tr h="12008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нутри организации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Хищение в государственном и частном секторах;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Растрата, подлог, другие формы злоупотребления служебным положением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224478"/>
                  </a:ext>
                </a:extLst>
              </a:tr>
              <a:tr h="144103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 участием третьих лиц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Взяточничество;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Торговля влиянием;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Незаконное обогащение;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 Отмывание денег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2874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191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43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5025"/>
          </a:xfrm>
        </p:spPr>
        <p:txBody>
          <a:bodyPr vert="horz"/>
          <a:lstStyle/>
          <a:p>
            <a:r>
              <a:rPr lang="ru-RU" dirty="0" smtClean="0"/>
              <a:t>               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098" y="311330"/>
            <a:ext cx="1837573" cy="10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274322" y="2145746"/>
            <a:ext cx="80787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1600297" y="1483743"/>
            <a:ext cx="9691680" cy="5268089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личные теории происхождения коррупции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ct val="107000"/>
              </a:lnSpc>
              <a:buNone/>
            </a:pPr>
            <a:r>
              <a:rPr lang="ru-RU" b="1" u="sng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Теория </a:t>
            </a:r>
            <a:r>
              <a:rPr lang="ru-RU" b="1" u="sng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кономической ренты: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то любой доход, отличный от трудового дохода и дохода от вложения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питала.</a:t>
            </a:r>
            <a:endParaRPr lang="ru-RU" sz="14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к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то объясняет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ю?</a:t>
            </a:r>
            <a:r>
              <a:rPr lang="ru-RU" sz="1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сли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ловек извлекает доход, помимо своей зарплаты, используя служебные обязанности, буквально из своей должности, для себя, для личных целей.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скатели ренты – те, кто в целях получения дополнительной прибыли без дополнительных вложений и производственных затрат, ищут нужную должность, нужный контракт, нужных посредников, а также тех, кто имеет возможности для использования ренты и хотел бы это сделать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0" algn="just">
              <a:lnSpc>
                <a:spcPct val="107000"/>
              </a:lnSpc>
              <a:buNone/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аким образом появляются коррупционные схемы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345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43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35025"/>
          </a:xfrm>
        </p:spPr>
        <p:txBody>
          <a:bodyPr vert="horz"/>
          <a:lstStyle/>
          <a:p>
            <a:r>
              <a:rPr lang="ru-RU" dirty="0" smtClean="0"/>
              <a:t>               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Picture 2" descr="Казахская национальная академия хореографии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143" y="311330"/>
            <a:ext cx="1545179" cy="888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274322" y="2145746"/>
            <a:ext cx="80787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1600297" y="1639019"/>
            <a:ext cx="9976352" cy="5112813"/>
          </a:xfrm>
        </p:spPr>
        <p:txBody>
          <a:bodyPr>
            <a:normAutofit/>
          </a:bodyPr>
          <a:lstStyle/>
          <a:p>
            <a:pPr marL="0" lvl="0" indent="0" algn="just">
              <a:lnSpc>
                <a:spcPct val="107000"/>
              </a:lnSpc>
              <a:buNone/>
            </a:pPr>
            <a:r>
              <a:rPr lang="ru-RU" b="1" u="sng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Политическая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ru-RU" sz="14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ct val="107000"/>
              </a:lnSpc>
              <a:buNone/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изкий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ровень политической конкуренции приводит к доминированию одной политической силы и слабым общественным институтам. Коррупция развивается, потому что никто не выполняет функции «сторожевого пса», возможности контроля со стороны общества сильно ограничены.  Монопольная власть и свобода действий без подотчетности создают риски коррупции.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ct val="107000"/>
              </a:lnSpc>
              <a:buNone/>
            </a:pPr>
            <a:r>
              <a:rPr lang="ru-RU" b="1" u="sng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Культурологическая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ru-RU" sz="14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ct val="107000"/>
              </a:lnSpc>
              <a:buNone/>
            </a:pPr>
            <a:r>
              <a:rPr lang="ru-RU" b="1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ормы </a:t>
            </a: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ава имеют значение, но все равно все зависит от культуры. Взятки и подарки сложно различить. Есть нации, у которых есть культурный код - постоянно думать о благодарности за услугу, иначе это будет нарушением культурных обычаев. </a:t>
            </a: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buNone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just">
              <a:buFont typeface="Times New Roman" panose="02020603050405020304" pitchFamily="18" charset="0"/>
              <a:buChar char="-"/>
              <a:tabLst>
                <a:tab pos="540385" algn="l"/>
              </a:tabLst>
            </a:pP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544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Легкий дым">
  <a:themeElements>
    <a:clrScheme name="Легкий дым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Легкий дым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Легкий дым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315</TotalTime>
  <Words>773</Words>
  <Application>Microsoft Office PowerPoint</Application>
  <PresentationFormat>Широкоэкранный</PresentationFormat>
  <Paragraphs>152</Paragraphs>
  <Slides>14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Arial</vt:lpstr>
      <vt:lpstr>Calibri</vt:lpstr>
      <vt:lpstr>Century Gothic</vt:lpstr>
      <vt:lpstr>Times New Roman</vt:lpstr>
      <vt:lpstr>Wingdings</vt:lpstr>
      <vt:lpstr>Wingdings 3</vt:lpstr>
      <vt:lpstr>Легкий дым</vt:lpstr>
      <vt:lpstr>Слайд think-cell</vt:lpstr>
      <vt:lpstr>Презентация PowerPoint</vt:lpstr>
      <vt:lpstr>             </vt:lpstr>
      <vt:lpstr>                 Первые упоминания о коррупции в истории человечества </vt:lpstr>
      <vt:lpstr>                                    Определение коррупции: </vt:lpstr>
      <vt:lpstr>                 ПОЯСНЕНИЕ ТЕРМИНОВ </vt:lpstr>
      <vt:lpstr>                  ТИПЫ КОРРУПЦИИ </vt:lpstr>
      <vt:lpstr>                 </vt:lpstr>
      <vt:lpstr>               </vt:lpstr>
      <vt:lpstr>            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ina Priemnaya</dc:creator>
  <cp:lastModifiedBy>400</cp:lastModifiedBy>
  <cp:revision>97</cp:revision>
  <cp:lastPrinted>2021-10-25T03:54:46Z</cp:lastPrinted>
  <dcterms:created xsi:type="dcterms:W3CDTF">2019-10-03T03:36:37Z</dcterms:created>
  <dcterms:modified xsi:type="dcterms:W3CDTF">2024-01-08T05:15:34Z</dcterms:modified>
</cp:coreProperties>
</file>